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"/>
  </p:notesMasterIdLst>
  <p:sldIdLst>
    <p:sldId id="261" r:id="rId3"/>
    <p:sldId id="259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748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https://nestle-my.sharepoint.com/personal/sidra_ehsan_pk_nestle_com/Documents/Desktop/Regional%20WR%20&amp;%20WT/1.%20PQF/Water%20Ratio/Water%20ratio%20data/Water%20Ratio%202012-2019%20Master%20File%20(In%20use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Water Ratio (ton/ton) Improvement 2008-2019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WR Journey'!$C$3</c:f>
              <c:strCache>
                <c:ptCount val="1"/>
                <c:pt idx="0">
                  <c:v>Water Ratio (ton/ton)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'WR Journey'!$B$4:$B$15</c:f>
              <c:numCache>
                <c:formatCode>General</c:formatCode>
                <c:ptCount val="12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</c:numCache>
            </c:numRef>
          </c:cat>
          <c:val>
            <c:numRef>
              <c:f>'WR Journey'!$C$4:$C$15</c:f>
              <c:numCache>
                <c:formatCode>0.00</c:formatCode>
                <c:ptCount val="12"/>
                <c:pt idx="0">
                  <c:v>5.0999999999999996</c:v>
                </c:pt>
                <c:pt idx="1">
                  <c:v>4.0999999999999996</c:v>
                </c:pt>
                <c:pt idx="2">
                  <c:v>2.9</c:v>
                </c:pt>
                <c:pt idx="3">
                  <c:v>2.68</c:v>
                </c:pt>
                <c:pt idx="4">
                  <c:v>2.5990136293245882</c:v>
                </c:pt>
                <c:pt idx="5">
                  <c:v>2.2181169400275449</c:v>
                </c:pt>
                <c:pt idx="6">
                  <c:v>1.9685614312622488</c:v>
                </c:pt>
                <c:pt idx="7">
                  <c:v>1.8614573321361716</c:v>
                </c:pt>
                <c:pt idx="8">
                  <c:v>1.8748710116374729</c:v>
                </c:pt>
                <c:pt idx="9">
                  <c:v>1.6717615962983552</c:v>
                </c:pt>
                <c:pt idx="10">
                  <c:v>1.6265957656197996</c:v>
                </c:pt>
                <c:pt idx="11">
                  <c:v>1.5528709915916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1C-45E8-BCCA-6CF37E6789E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46201432"/>
        <c:axId val="346201040"/>
      </c:barChart>
      <c:catAx>
        <c:axId val="346201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46201040"/>
        <c:crosses val="autoZero"/>
        <c:auto val="1"/>
        <c:lblAlgn val="ctr"/>
        <c:lblOffset val="100"/>
        <c:noMultiLvlLbl val="0"/>
      </c:catAx>
      <c:valAx>
        <c:axId val="346201040"/>
        <c:scaling>
          <c:orientation val="minMax"/>
          <c:min val="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Water Ratio (ton/ton)</a:t>
                </a:r>
              </a:p>
            </c:rich>
          </c:tx>
          <c:layout>
            <c:manualLayout>
              <c:xMode val="edge"/>
              <c:yMode val="edge"/>
              <c:x val="7.3596346079577518E-2"/>
              <c:y val="0.16170763260025872"/>
            </c:manualLayout>
          </c:layout>
          <c:overlay val="0"/>
        </c:title>
        <c:numFmt formatCode="0.00" sourceLinked="1"/>
        <c:majorTickMark val="out"/>
        <c:minorTickMark val="none"/>
        <c:tickLblPos val="nextTo"/>
        <c:crossAx val="346201432"/>
        <c:crosses val="autoZero"/>
        <c:crossBetween val="between"/>
        <c:majorUnit val="0.5"/>
      </c:valAx>
      <c:dTable>
        <c:showHorzBorder val="1"/>
        <c:showVertBorder val="1"/>
        <c:showOutline val="1"/>
        <c:showKeys val="0"/>
      </c:dTable>
    </c:plotArea>
    <c:plotVisOnly val="1"/>
    <c:dispBlanksAs val="gap"/>
    <c:showDLblsOverMax val="0"/>
  </c:chart>
  <c:spPr>
    <a:ln>
      <a:solidFill>
        <a:schemeClr val="tx1"/>
      </a:solidFill>
    </a:ln>
    <a:effectLst>
      <a:outerShdw blurRad="50800" dist="38100" dir="5400000" algn="t" rotWithShape="0">
        <a:prstClr val="black">
          <a:alpha val="40000"/>
        </a:prstClr>
      </a:outerShdw>
    </a:effectLst>
  </c:spPr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D4DFFC-C63C-455F-B63F-EBA645A57221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842E08-2E3F-47AE-B5F9-BE0D6F98C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00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18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145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335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A567EDC-EF02-4F2F-B76C-9A68C9E4D491}" type="datetime1">
              <a:rPr lang="fr-FR" smtClean="0"/>
              <a:t>09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233993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DD13C83-9AD6-4034-B311-B91FCB5100CD}" type="datetime1">
              <a:rPr lang="fr-FR" smtClean="0"/>
              <a:t>09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513327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1C0A4-DB12-4B55-8AA2-FDC6310B1554}" type="datetime1">
              <a:rPr lang="fr-FR" smtClean="0"/>
              <a:t>09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4081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29201"/>
            <a:ext cx="5181600" cy="465296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29201"/>
            <a:ext cx="5181600" cy="465296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9FC8E-BA57-4ACD-A9C7-CF53202711C4}" type="datetime1">
              <a:rPr lang="fr-FR" smtClean="0"/>
              <a:t>09/02/2020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8123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345722" y="6356352"/>
            <a:ext cx="2235679" cy="365125"/>
          </a:xfrm>
        </p:spPr>
        <p:txBody>
          <a:bodyPr/>
          <a:lstStyle/>
          <a:p>
            <a:fld id="{769C9CAC-8A23-4075-ABA6-98863C96B5AD}" type="datetime1">
              <a:rPr lang="fr-FR" smtClean="0"/>
              <a:t>09/02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8" name="Rectangle 7"/>
          <p:cNvSpPr/>
          <p:nvPr userDrawn="1"/>
        </p:nvSpPr>
        <p:spPr>
          <a:xfrm>
            <a:off x="-38102" y="1551619"/>
            <a:ext cx="6134100" cy="387035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6233" y="1785670"/>
            <a:ext cx="5625432" cy="34419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 flipH="1">
            <a:off x="5051143" y="4668254"/>
            <a:ext cx="1044855" cy="753716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028623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1A7DB-6353-4A26-A82C-47DC9F9E57D9}" type="datetime1">
              <a:rPr lang="fr-FR" smtClean="0"/>
              <a:t>09/02/2020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4809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6D9FB-447E-4A7D-84CE-8CFD28E9C249}" type="datetime1">
              <a:rPr lang="fr-FR" smtClean="0"/>
              <a:t>09/02/2020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274880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Blue Left S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6" descr="bandeau_4.jpg"/>
          <p:cNvPicPr>
            <a:picLocks noChangeAspect="1"/>
          </p:cNvPicPr>
          <p:nvPr userDrawn="1"/>
        </p:nvPicPr>
        <p:blipFill>
          <a:blip r:embed="rId6" cstate="print"/>
          <a:srcRect l="12825" r="28183"/>
          <a:stretch>
            <a:fillRect/>
          </a:stretch>
        </p:blipFill>
        <p:spPr>
          <a:xfrm>
            <a:off x="2" y="0"/>
            <a:ext cx="56459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2556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1146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10" descr="fond_1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1312435" y="1014675"/>
            <a:ext cx="9567133" cy="638060"/>
          </a:xfrm>
        </p:spPr>
        <p:txBody>
          <a:bodyPr wrap="square" anchor="ctr" anchorCtr="0">
            <a:spAutoFit/>
          </a:bodyPr>
          <a:lstStyle>
            <a:lvl1pPr algn="l">
              <a:lnSpc>
                <a:spcPct val="95000"/>
              </a:lnSpc>
              <a:defRPr sz="3733" b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432937" y="2910124"/>
            <a:ext cx="3470345" cy="902811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6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9" name="Picture 18" descr="Trait blanc titre.emf"/>
          <p:cNvPicPr>
            <a:picLocks/>
          </p:cNvPicPr>
          <p:nvPr userDrawn="1"/>
        </p:nvPicPr>
        <p:blipFill>
          <a:blip r:embed="rId7" cstate="print"/>
          <a:srcRect r="26331" b="1989"/>
          <a:stretch>
            <a:fillRect/>
          </a:stretch>
        </p:blipFill>
        <p:spPr>
          <a:xfrm>
            <a:off x="1103229" y="634782"/>
            <a:ext cx="135056" cy="1397852"/>
          </a:xfrm>
          <a:prstGeom prst="rect">
            <a:avLst/>
          </a:prstGeom>
        </p:spPr>
      </p:pic>
      <p:sp>
        <p:nvSpPr>
          <p:cNvPr id="21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432937" y="4093659"/>
            <a:ext cx="3470345" cy="715965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 descr="Logo Nestlé WATERS.emf"/>
          <p:cNvPicPr>
            <a:picLocks/>
          </p:cNvPicPr>
          <p:nvPr userDrawn="1"/>
        </p:nvPicPr>
        <p:blipFill>
          <a:blip r:embed="rId8" cstate="print"/>
          <a:srcRect l="-20257" t="-24666" r="586" b="-2162"/>
          <a:stretch>
            <a:fillRect/>
          </a:stretch>
        </p:blipFill>
        <p:spPr>
          <a:xfrm>
            <a:off x="10780736" y="5787024"/>
            <a:ext cx="1235901" cy="918576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66710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176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510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609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96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436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246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637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829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558" y="6342959"/>
            <a:ext cx="727399" cy="421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21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27747"/>
            <a:ext cx="10515600" cy="4749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098FB4-6667-414A-9C12-6474FA4AE8D0}" type="datetime1">
              <a:rPr lang="fr-FR" smtClean="0"/>
              <a:t>09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7" name="Forme libre 6"/>
          <p:cNvSpPr/>
          <p:nvPr/>
        </p:nvSpPr>
        <p:spPr>
          <a:xfrm flipH="1">
            <a:off x="10546080" y="5274933"/>
            <a:ext cx="1645920" cy="1583068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rgbClr val="209E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Forme libre 7"/>
          <p:cNvSpPr/>
          <p:nvPr/>
        </p:nvSpPr>
        <p:spPr>
          <a:xfrm rot="10800000" flipH="1">
            <a:off x="2" y="2"/>
            <a:ext cx="1234249" cy="1187117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743096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152">
          <p15:clr>
            <a:srgbClr val="F26B43"/>
          </p15:clr>
        </p15:guide>
        <p15:guide id="4" pos="528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pPr/>
              <a:t>1</a:t>
            </a:fld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858034" cy="1748589"/>
          </a:xfrm>
        </p:spPr>
        <p:txBody>
          <a:bodyPr>
            <a:normAutofit/>
          </a:bodyPr>
          <a:lstStyle/>
          <a:p>
            <a:r>
              <a:rPr lang="en-US" sz="4200" dirty="0" smtClean="0"/>
              <a:t>Water Ratio Improvement</a:t>
            </a:r>
            <a:endParaRPr lang="en-US" sz="4200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Nestlé Port Qasim Factory -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7448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76167"/>
            <a:ext cx="10515600" cy="49358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 b="1" u="sng" dirty="0" smtClean="0"/>
              <a:t>Water Ratio </a:t>
            </a:r>
            <a:r>
              <a:rPr lang="en-US" sz="4000" b="1" u="sng" dirty="0" smtClean="0"/>
              <a:t>Improvement - PQF</a:t>
            </a:r>
            <a:endParaRPr lang="en-US" sz="4000" b="1" u="sng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3842567"/>
              </p:ext>
            </p:extLst>
          </p:nvPr>
        </p:nvGraphicFramePr>
        <p:xfrm>
          <a:off x="1246909" y="748145"/>
          <a:ext cx="9379527" cy="3075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/>
              <p:cNvSpPr txBox="1"/>
              <p:nvPr/>
            </p:nvSpPr>
            <p:spPr>
              <a:xfrm>
                <a:off x="1246908" y="3962495"/>
                <a:ext cx="9379527" cy="246221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u="sng" dirty="0"/>
                  <a:t>Key Water Saving Projects:</a:t>
                </a:r>
              </a:p>
              <a:p>
                <a:r>
                  <a:rPr lang="en-US" sz="1400" b="1" dirty="0" smtClean="0"/>
                  <a:t>2008 – 2012: Reducing Operational losses on Fillers and Washer</a:t>
                </a:r>
              </a:p>
              <a:p>
                <a:r>
                  <a:rPr lang="en-US" sz="1400" b="1" dirty="0" smtClean="0"/>
                  <a:t>2013: </a:t>
                </a:r>
                <a:r>
                  <a:rPr lang="en-US" sz="1400" b="1" dirty="0"/>
                  <a:t>D</a:t>
                </a:r>
                <a:r>
                  <a:rPr lang="en-US" sz="1400" b="1" dirty="0" smtClean="0"/>
                  <a:t>etailed water map was done followed by GPI exercise</a:t>
                </a:r>
              </a:p>
              <a:p>
                <a:r>
                  <a:rPr lang="en-US" sz="1400" b="1" dirty="0" smtClean="0"/>
                  <a:t>2014: Optimization of CIP, Backwash &amp; RO flushing Sequences</a:t>
                </a:r>
              </a:p>
              <a:p>
                <a:r>
                  <a:rPr lang="en-US" sz="1400" b="1" dirty="0" smtClean="0"/>
                  <a:t>2015: </a:t>
                </a:r>
                <a:r>
                  <a:rPr lang="en-US" sz="1400" b="1" dirty="0"/>
                  <a:t>New 10</a:t>
                </a:r>
                <a14:m>
                  <m:oMath xmlns:m="http://schemas.openxmlformats.org/officeDocument/2006/math">
                    <m:r>
                      <a:rPr lang="en-US" sz="1400" b="1" i="1">
                        <a:latin typeface="Cambria Math" panose="02040503050406030204" pitchFamily="18" charset="0"/>
                      </a:rPr>
                      <m:t>µ</m:t>
                    </m:r>
                  </m:oMath>
                </a14:m>
                <a:r>
                  <a:rPr lang="en-US" sz="1400" b="1" dirty="0"/>
                  <a:t> pre-filter + GFS tank installation</a:t>
                </a:r>
              </a:p>
              <a:p>
                <a:r>
                  <a:rPr lang="en-US" sz="1400" b="1" dirty="0" smtClean="0"/>
                  <a:t>2016: Installation of Recovery RO-Saved 28 Mio Lit/annum and DMAIC on HOD Filler Losses</a:t>
                </a:r>
              </a:p>
              <a:p>
                <a:r>
                  <a:rPr lang="en-US" sz="1400" b="1" dirty="0" smtClean="0"/>
                  <a:t>2017: Reduction in Retail Line Diversions via new ozone injection point and Recovery RO Water Usage in GFS tank</a:t>
                </a:r>
              </a:p>
              <a:p>
                <a:r>
                  <a:rPr lang="en-US" sz="1400" b="1" dirty="0" smtClean="0"/>
                  <a:t>2018: Recovery of Water from market Returned leak bottles</a:t>
                </a:r>
              </a:p>
              <a:p>
                <a:r>
                  <a:rPr lang="en-US" sz="1400" b="1" dirty="0" smtClean="0"/>
                  <a:t>2019: Increase in RO Global Recovery from 85.7% to 90% via raw water feed conductivity improvement and shifting to DDCD CIPs for backline</a:t>
                </a:r>
              </a:p>
              <a:p>
                <a:r>
                  <a:rPr lang="en-US" sz="1400" b="1" dirty="0" smtClean="0"/>
                  <a:t>  </a:t>
                </a:r>
                <a:endParaRPr lang="en-US" sz="1400" b="1" dirty="0"/>
              </a:p>
            </p:txBody>
          </p:sp>
        </mc:Choice>
        <mc:Fallback xmlns=""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6908" y="3962495"/>
                <a:ext cx="9379527" cy="2462213"/>
              </a:xfrm>
              <a:prstGeom prst="rect">
                <a:avLst/>
              </a:prstGeom>
              <a:blipFill>
                <a:blip r:embed="rId3"/>
                <a:stretch>
                  <a:fillRect l="-195" t="-495" r="-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15813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">
  <a:themeElements>
    <a:clrScheme name="NW 1015">
      <a:dk1>
        <a:sysClr val="windowText" lastClr="000000"/>
      </a:dk1>
      <a:lt1>
        <a:sysClr val="window" lastClr="FFFFFF"/>
      </a:lt1>
      <a:dk2>
        <a:srgbClr val="7F7F7F"/>
      </a:dk2>
      <a:lt2>
        <a:srgbClr val="E7E6E6"/>
      </a:lt2>
      <a:accent1>
        <a:srgbClr val="009DE0"/>
      </a:accent1>
      <a:accent2>
        <a:srgbClr val="1D297B"/>
      </a:accent2>
      <a:accent3>
        <a:srgbClr val="952477"/>
      </a:accent3>
      <a:accent4>
        <a:srgbClr val="AC77B3"/>
      </a:accent4>
      <a:accent5>
        <a:srgbClr val="1371B7"/>
      </a:accent5>
      <a:accent6>
        <a:srgbClr val="4F4493"/>
      </a:accent6>
      <a:hlink>
        <a:srgbClr val="0563C1"/>
      </a:hlink>
      <a:folHlink>
        <a:srgbClr val="954F72"/>
      </a:folHlink>
    </a:clrScheme>
    <a:fontScheme name="Personnalisé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12</TotalTime>
  <Words>146</Words>
  <Application>Microsoft Office PowerPoint</Application>
  <PresentationFormat>Widescreen</PresentationFormat>
  <Paragraphs>1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Cambria Math</vt:lpstr>
      <vt:lpstr>Office Theme</vt:lpstr>
      <vt:lpstr>1</vt:lpstr>
      <vt:lpstr>think-cell Slide</vt:lpstr>
      <vt:lpstr>Water Ratio Improvement</vt:lpstr>
      <vt:lpstr>PowerPoint Presentation</vt:lpstr>
    </vt:vector>
  </TitlesOfParts>
  <Company>Nest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amabad AWS Time lines</dc:title>
  <dc:creator>Afnan Amjad</dc:creator>
  <cp:keywords>AWS</cp:keywords>
  <cp:lastModifiedBy>Ehsan,Sidra,Karachi,NCE - Port Qasim</cp:lastModifiedBy>
  <cp:revision>71</cp:revision>
  <dcterms:created xsi:type="dcterms:W3CDTF">2017-05-03T09:22:46Z</dcterms:created>
  <dcterms:modified xsi:type="dcterms:W3CDTF">2020-02-09T14:38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Sidra.Ehsan@PK.nestle.com</vt:lpwstr>
  </property>
  <property fmtid="{D5CDD505-2E9C-101B-9397-08002B2CF9AE}" pid="5" name="MSIP_Label_1ada0a2f-b917-4d51-b0d0-d418a10c8b23_SetDate">
    <vt:lpwstr>2020-01-12T12:38:50.8604635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ActionId">
    <vt:lpwstr>f1387312-31c0-4255-a5dc-cca61b376bc2</vt:lpwstr>
  </property>
  <property fmtid="{D5CDD505-2E9C-101B-9397-08002B2CF9AE}" pid="9" name="MSIP_Label_1ada0a2f-b917-4d51-b0d0-d418a10c8b23_Extended_MSFT_Method">
    <vt:lpwstr>Automatic</vt:lpwstr>
  </property>
  <property fmtid="{D5CDD505-2E9C-101B-9397-08002B2CF9AE}" pid="10" name="Sensitivity">
    <vt:lpwstr>General Use</vt:lpwstr>
  </property>
</Properties>
</file>